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4" r:id="rId3"/>
    <p:sldId id="257" r:id="rId4"/>
    <p:sldId id="266" r:id="rId5"/>
    <p:sldId id="260" r:id="rId6"/>
    <p:sldId id="259" r:id="rId7"/>
    <p:sldId id="268" r:id="rId8"/>
    <p:sldId id="269" r:id="rId9"/>
    <p:sldId id="275" r:id="rId10"/>
    <p:sldId id="272" r:id="rId11"/>
    <p:sldId id="263" r:id="rId12"/>
    <p:sldId id="274" r:id="rId13"/>
    <p:sldId id="276" r:id="rId14"/>
    <p:sldId id="277" r:id="rId15"/>
    <p:sldId id="278" r:id="rId16"/>
    <p:sldId id="270" r:id="rId17"/>
  </p:sldIdLst>
  <p:sldSz cx="12192000" cy="6858000"/>
  <p:notesSz cx="6797675" cy="9926638"/>
  <p:custDataLst>
    <p:tags r:id="rId20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88" d="100"/>
          <a:sy n="88" d="100"/>
        </p:scale>
        <p:origin x="198" y="6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3/1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3/1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01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01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01/03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01/03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://andrewhfarmer.com/component-communication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hyperlink" Target="https://github.com/rasmuskl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asmuskl/" TargetMode="External"/><Relationship Id="rId2" Type="http://schemas.openxmlformats.org/officeDocument/2006/relationships/hyperlink" Target="http://rasmuskl.dk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5663952" y="1916832"/>
            <a:ext cx="502945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9416" y="1916832"/>
            <a:ext cx="309634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 Hot Module Rel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451484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ag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1955540" y="3970373"/>
            <a:ext cx="1224136" cy="64807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MR Cli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6023992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2024" y="3970373"/>
            <a:ext cx="1728192" cy="781260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pack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 Serv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5184" y="31158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117584" y="32682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69984" y="34206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22384" y="35730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</a:p>
        </p:txBody>
      </p:sp>
      <p:sp>
        <p:nvSpPr>
          <p:cNvPr id="17" name="Arrow: Left 16"/>
          <p:cNvSpPr/>
          <p:nvPr/>
        </p:nvSpPr>
        <p:spPr>
          <a:xfrm>
            <a:off x="3694766" y="4242716"/>
            <a:ext cx="2160240" cy="236573"/>
          </a:xfrm>
          <a:prstGeom prst="lef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rrow: Right 17"/>
          <p:cNvSpPr/>
          <p:nvPr/>
        </p:nvSpPr>
        <p:spPr>
          <a:xfrm>
            <a:off x="8228590" y="4245618"/>
            <a:ext cx="677162" cy="237600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36694" y="3890594"/>
            <a:ext cx="22183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bsock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41907" y="4492891"/>
            <a:ext cx="114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atc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9416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55940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4942590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sual Studi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Extensions</a:t>
            </a:r>
          </a:p>
          <a:p>
            <a:pPr lvl="1"/>
            <a:r>
              <a:rPr lang="da-DK" dirty="0"/>
              <a:t>Task Runner</a:t>
            </a:r>
          </a:p>
          <a:p>
            <a:pPr lvl="1"/>
            <a:r>
              <a:rPr lang="da-DK" dirty="0"/>
              <a:t>TypeScript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r>
              <a:rPr lang="da-DK" dirty="0"/>
              <a:t>Our Pains</a:t>
            </a:r>
          </a:p>
          <a:p>
            <a:pPr lvl="1"/>
            <a:r>
              <a:rPr lang="da-DK" dirty="0"/>
              <a:t>Visual Studio + ReShaper vs JavaScript Ecosystem</a:t>
            </a:r>
          </a:p>
          <a:p>
            <a:pPr lvl="1"/>
            <a:r>
              <a:rPr lang="da-DK" dirty="0"/>
              <a:t>Visual Studio: TypeScript typings caching</a:t>
            </a:r>
          </a:p>
          <a:p>
            <a:pPr lvl="1"/>
            <a:r>
              <a:rPr lang="da-DK" dirty="0"/>
              <a:t>TypeScript</a:t>
            </a:r>
          </a:p>
          <a:p>
            <a:pPr lvl="2"/>
            <a:r>
              <a:rPr lang="da-DK" dirty="0"/>
              <a:t>TSD &gt; Typings &gt; npm @types</a:t>
            </a:r>
          </a:p>
          <a:p>
            <a:pPr lvl="1"/>
            <a:r>
              <a:rPr lang="da-DK" dirty="0"/>
              <a:t>Webpack incremental build time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462" y="990332"/>
            <a:ext cx="4673191" cy="232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497" y="3954377"/>
            <a:ext cx="908789" cy="1070866"/>
          </a:xfrm>
          <a:prstGeom prst="rect">
            <a:avLst/>
          </a:prstGeom>
        </p:spPr>
      </p:pic>
      <p:pic>
        <p:nvPicPr>
          <p:cNvPr id="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4878021"/>
            <a:ext cx="1357755" cy="94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392" y="4065327"/>
            <a:ext cx="1622008" cy="84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us Sign 8"/>
          <p:cNvSpPr/>
          <p:nvPr/>
        </p:nvSpPr>
        <p:spPr>
          <a:xfrm>
            <a:off x="9107762" y="3155794"/>
            <a:ext cx="806838" cy="773093"/>
          </a:xfrm>
          <a:prstGeom prst="mathPlus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9982297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Advice</a:t>
            </a:r>
          </a:p>
          <a:p>
            <a:pPr lvl="1"/>
            <a:r>
              <a:rPr lang="da-DK" dirty="0"/>
              <a:t>Understand your tools</a:t>
            </a:r>
          </a:p>
          <a:p>
            <a:pPr lvl="1"/>
            <a:r>
              <a:rPr lang="da-DK" dirty="0"/>
              <a:t>Keep number of dependencies down</a:t>
            </a:r>
          </a:p>
          <a:p>
            <a:pPr lvl="1"/>
            <a:r>
              <a:rPr lang="da-DK" dirty="0"/>
              <a:t>Investigate stability of dependencies</a:t>
            </a:r>
          </a:p>
          <a:p>
            <a:pPr lvl="1"/>
            <a:r>
              <a:rPr lang="da-DK" dirty="0"/>
              <a:t>React: Don’t introduce Flux until you need it</a:t>
            </a:r>
          </a:p>
          <a:p>
            <a:endParaRPr lang="da-DK" dirty="0"/>
          </a:p>
          <a:p>
            <a:r>
              <a:rPr lang="da-DK" dirty="0"/>
              <a:t>Resources</a:t>
            </a:r>
          </a:p>
          <a:p>
            <a:pPr lvl="1"/>
            <a:r>
              <a:rPr lang="da-DK" dirty="0"/>
              <a:t>npm: </a:t>
            </a:r>
            <a:r>
              <a:rPr lang="da-DK" b="1" dirty="0"/>
              <a:t>create-react-app</a:t>
            </a:r>
            <a:r>
              <a:rPr lang="da-DK" dirty="0"/>
              <a:t> from Facebook</a:t>
            </a:r>
          </a:p>
          <a:p>
            <a:pPr lvl="1"/>
            <a:r>
              <a:rPr lang="da-DK" dirty="0"/>
              <a:t>React communication: </a:t>
            </a:r>
            <a:r>
              <a:rPr lang="da-DK" dirty="0">
                <a:hlinkClick r:id="rId2"/>
              </a:rPr>
              <a:t>http://andrewhfarmer.com/component-communication/</a:t>
            </a:r>
            <a:endParaRPr lang="da-DK" dirty="0"/>
          </a:p>
          <a:p>
            <a:pPr lvl="1"/>
            <a:r>
              <a:rPr lang="da-DK" dirty="0"/>
              <a:t>React, Webpack and TypeScript documentation sites</a:t>
            </a:r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endParaRPr lang="da-DK" dirty="0"/>
          </a:p>
          <a:p>
            <a:r>
              <a:rPr lang="da-DK" dirty="0"/>
              <a:t>Presentation + Code will be shared at </a:t>
            </a:r>
            <a:r>
              <a:rPr lang="da-DK" dirty="0">
                <a:hlinkClick r:id="rId4"/>
              </a:rPr>
              <a:t>https://github.com/rasmuskl</a:t>
            </a: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1196753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774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+ &lt; anything &gt;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2"/>
              </a:rPr>
              <a:t>http://rasmuskl.dk</a:t>
            </a:r>
            <a:endParaRPr lang="da-DK" dirty="0"/>
          </a:p>
          <a:p>
            <a:r>
              <a:rPr lang="da-DK" dirty="0"/>
              <a:t>Github: </a:t>
            </a:r>
            <a:r>
              <a:rPr lang="da-DK" dirty="0">
                <a:hlinkClick r:id="rId3"/>
              </a:rPr>
              <a:t>https://github.com/rasmuskl/</a:t>
            </a:r>
            <a:endParaRPr lang="da-DK" dirty="0"/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3902989">
            <a:off x="7555342" y="1924684"/>
            <a:ext cx="2123110" cy="330225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071" y="3588055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316" y="3212976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792" y="4755745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1465296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1400" y="1300679"/>
            <a:ext cx="1685994" cy="19866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this tal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r>
              <a:rPr lang="da-DK" dirty="0"/>
              <a:t>Show how everything works from the ground up</a:t>
            </a:r>
          </a:p>
          <a:p>
            <a:endParaRPr lang="da-DK" dirty="0"/>
          </a:p>
          <a:p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Founded in 2014 (spin-off from SkabelonDesign)</a:t>
            </a:r>
          </a:p>
          <a:p>
            <a:pPr lvl="1"/>
            <a:r>
              <a:rPr lang="da-DK" dirty="0"/>
              <a:t>Approx. 30 employees</a:t>
            </a:r>
          </a:p>
          <a:p>
            <a:endParaRPr lang="da-DK" dirty="0"/>
          </a:p>
          <a:p>
            <a:r>
              <a:rPr lang="da-DK" dirty="0"/>
              <a:t>Mission: Help companies manage their templates</a:t>
            </a:r>
          </a:p>
          <a:p>
            <a:pPr lvl="1"/>
            <a:endParaRPr lang="da-DK" dirty="0"/>
          </a:p>
          <a:p>
            <a:r>
              <a:rPr lang="da-DK" dirty="0"/>
              <a:t>Distribution</a:t>
            </a:r>
          </a:p>
          <a:p>
            <a:r>
              <a:rPr lang="da-DK" dirty="0"/>
              <a:t>Personalizing</a:t>
            </a:r>
          </a:p>
          <a:p>
            <a:r>
              <a:rPr lang="da-DK" dirty="0"/>
              <a:t>Integration</a:t>
            </a:r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pPr lvl="1"/>
            <a:r>
              <a:rPr lang="da-DK" dirty="0"/>
              <a:t>Tech: .NET, Azure, React, VSTO, git, VSTS, Azure SQL</a:t>
            </a:r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 Sto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Started in June 2016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Performance</a:t>
            </a:r>
          </a:p>
          <a:p>
            <a:r>
              <a:rPr lang="da-DK" dirty="0"/>
              <a:t>Focus on core features</a:t>
            </a:r>
          </a:p>
          <a:p>
            <a:r>
              <a:rPr lang="da-DK" dirty="0"/>
              <a:t>Developer productivity</a:t>
            </a:r>
          </a:p>
          <a:p>
            <a:r>
              <a:rPr lang="da-DK" dirty="0"/>
              <a:t>Attracting new developers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349</TotalTime>
  <Words>494</Words>
  <Application>Microsoft Office PowerPoint</Application>
  <PresentationFormat>Widescreen</PresentationFormat>
  <Paragraphs>242</Paragraphs>
  <Slides>16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Agenda</vt:lpstr>
      <vt:lpstr>Why this talk?</vt:lpstr>
      <vt:lpstr>Templafy</vt:lpstr>
      <vt:lpstr>Our Rewrite Story</vt:lpstr>
      <vt:lpstr>React</vt:lpstr>
      <vt:lpstr>Why not Angular 2?</vt:lpstr>
      <vt:lpstr>TypeScript</vt:lpstr>
      <vt:lpstr>React Reconcillation</vt:lpstr>
      <vt:lpstr>React Component Lifecycle</vt:lpstr>
      <vt:lpstr>Webpack</vt:lpstr>
      <vt:lpstr>Webpack Hot Module Reload</vt:lpstr>
      <vt:lpstr>Visual Studio</vt:lpstr>
      <vt:lpstr>Thank you!</vt:lpstr>
      <vt:lpstr>Javascript Ver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277</cp:revision>
  <cp:lastPrinted>2016-09-01T12:11:25Z</cp:lastPrinted>
  <dcterms:created xsi:type="dcterms:W3CDTF">2016-09-08T09:03:45Z</dcterms:created>
  <dcterms:modified xsi:type="dcterms:W3CDTF">2017-03-01T13:1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